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5"/>
  </p:notesMasterIdLst>
  <p:handoutMasterIdLst>
    <p:handoutMasterId r:id="rId26"/>
  </p:handoutMasterIdLst>
  <p:sldIdLst>
    <p:sldId id="256" r:id="rId2"/>
    <p:sldId id="261" r:id="rId3"/>
    <p:sldId id="262" r:id="rId4"/>
    <p:sldId id="266" r:id="rId5"/>
    <p:sldId id="264" r:id="rId6"/>
    <p:sldId id="267" r:id="rId7"/>
    <p:sldId id="268" r:id="rId8"/>
    <p:sldId id="269" r:id="rId9"/>
    <p:sldId id="270" r:id="rId10"/>
    <p:sldId id="285" r:id="rId11"/>
    <p:sldId id="286" r:id="rId12"/>
    <p:sldId id="289" r:id="rId13"/>
    <p:sldId id="271" r:id="rId14"/>
    <p:sldId id="288" r:id="rId15"/>
    <p:sldId id="287" r:id="rId16"/>
    <p:sldId id="275" r:id="rId17"/>
    <p:sldId id="281" r:id="rId18"/>
    <p:sldId id="282" r:id="rId19"/>
    <p:sldId id="283" r:id="rId20"/>
    <p:sldId id="284" r:id="rId21"/>
    <p:sldId id="280" r:id="rId22"/>
    <p:sldId id="277" r:id="rId23"/>
    <p:sldId id="279" r:id="rId24"/>
  </p:sldIdLst>
  <p:sldSz cx="7561263" cy="5329238"/>
  <p:notesSz cx="6797675" cy="9982200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61"/>
            <p14:sldId id="262"/>
            <p14:sldId id="266"/>
            <p14:sldId id="264"/>
            <p14:sldId id="267"/>
            <p14:sldId id="268"/>
            <p14:sldId id="269"/>
          </p14:sldIdLst>
        </p14:section>
        <p14:section name="Abschnitt ohne Titel" id="{4C7D4957-512B-4564-9EE8-7E574BAB15DF}">
          <p14:sldIdLst>
            <p14:sldId id="270"/>
            <p14:sldId id="285"/>
            <p14:sldId id="286"/>
            <p14:sldId id="289"/>
            <p14:sldId id="271"/>
            <p14:sldId id="288"/>
            <p14:sldId id="287"/>
            <p14:sldId id="275"/>
            <p14:sldId id="281"/>
            <p14:sldId id="282"/>
            <p14:sldId id="283"/>
            <p14:sldId id="284"/>
            <p14:sldId id="280"/>
            <p14:sldId id="277"/>
            <p14:sldId id="279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635">
          <p15:clr>
            <a:srgbClr val="A4A3A4"/>
          </p15:clr>
        </p15:guide>
        <p15:guide id="2" orient="horz" pos="3084">
          <p15:clr>
            <a:srgbClr val="A4A3A4"/>
          </p15:clr>
        </p15:guide>
        <p15:guide id="3" pos="113">
          <p15:clr>
            <a:srgbClr val="A4A3A4"/>
          </p15:clr>
        </p15:guide>
        <p15:guide id="4" pos="3515">
          <p15:clr>
            <a:srgbClr val="A4A3A4"/>
          </p15:clr>
        </p15:guide>
        <p15:guide id="5" pos="3696">
          <p15:clr>
            <a:srgbClr val="A4A3A4"/>
          </p15:clr>
        </p15:guide>
        <p15:guide id="6" pos="464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52A00"/>
    <a:srgbClr val="37C800"/>
    <a:srgbClr val="649B00"/>
    <a:srgbClr val="00FF00"/>
    <a:srgbClr val="2AD500"/>
    <a:srgbClr val="55AA00"/>
    <a:srgbClr val="7F8000"/>
    <a:srgbClr val="AA5506"/>
    <a:srgbClr val="D42B00"/>
    <a:srgbClr val="C83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172" d="100"/>
          <a:sy n="172" d="100"/>
        </p:scale>
        <p:origin x="-864" y="-96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4158" y="-64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abelle1!$A$2:$A$7</c:f>
              <c:strCache>
                <c:ptCount val="6"/>
                <c:pt idx="0">
                  <c:v>1. Analyse</c:v>
                </c:pt>
                <c:pt idx="1">
                  <c:v>2. Entwurf</c:v>
                </c:pt>
                <c:pt idx="2">
                  <c:v>3. Realisierung</c:v>
                </c:pt>
                <c:pt idx="3">
                  <c:v>4. Test</c:v>
                </c:pt>
                <c:pt idx="4">
                  <c:v>5. Refactoring</c:v>
                </c:pt>
                <c:pt idx="5">
                  <c:v>6. Dokumentation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8.5699999999999998E-2</c:v>
                </c:pt>
                <c:pt idx="1">
                  <c:v>0.12859999999999999</c:v>
                </c:pt>
                <c:pt idx="2">
                  <c:v>0.5514</c:v>
                </c:pt>
                <c:pt idx="3">
                  <c:v>5.7099999999999998E-2</c:v>
                </c:pt>
                <c:pt idx="4">
                  <c:v>2.8570000000000002E-2</c:v>
                </c:pt>
                <c:pt idx="5">
                  <c:v>0.1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785-4E07-824C-13191F94B7D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847148736037625"/>
          <c:y val="0.14842145415888267"/>
          <c:w val="0.38741916519694297"/>
          <c:h val="0.800617420656018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neu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Tabelle1!$A$2:$A$6</c:f>
              <c:numCache>
                <c:formatCode>General</c:formatCode>
                <c:ptCount val="5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778</c:v>
                </c:pt>
                <c:pt idx="1">
                  <c:v>3158</c:v>
                </c:pt>
                <c:pt idx="2">
                  <c:v>4538</c:v>
                </c:pt>
                <c:pt idx="3">
                  <c:v>5918</c:v>
                </c:pt>
                <c:pt idx="4">
                  <c:v>729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lt</c:v>
                </c:pt>
              </c:strCache>
            </c:strRef>
          </c:tx>
          <c:spPr>
            <a:ln>
              <a:solidFill>
                <a:srgbClr val="D52A00"/>
              </a:solidFill>
            </a:ln>
          </c:spPr>
          <c:marker>
            <c:symbol val="none"/>
          </c:marker>
          <c:dPt>
            <c:idx val="4"/>
            <c:marker/>
            <c:bubble3D val="0"/>
          </c:dPt>
          <c:cat>
            <c:numRef>
              <c:f>Tabelle1!$A$2:$A$6</c:f>
              <c:numCache>
                <c:formatCode>General</c:formatCode>
                <c:ptCount val="5"/>
                <c:pt idx="0">
                  <c:v>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  <c:pt idx="4">
                  <c:v>40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0</c:v>
                </c:pt>
                <c:pt idx="1">
                  <c:v>2280</c:v>
                </c:pt>
                <c:pt idx="2">
                  <c:v>4560</c:v>
                </c:pt>
                <c:pt idx="3">
                  <c:v>6840</c:v>
                </c:pt>
                <c:pt idx="4">
                  <c:v>91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4453760"/>
        <c:axId val="212110336"/>
      </c:lineChart>
      <c:catAx>
        <c:axId val="2044537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Vorgang</a:t>
                </a:r>
                <a:endParaRPr lang="de-DE" dirty="0"/>
              </a:p>
            </c:rich>
          </c:tx>
          <c:layout/>
          <c:overlay val="0"/>
        </c:title>
        <c:numFmt formatCode="@" sourceLinked="0"/>
        <c:majorTickMark val="out"/>
        <c:minorTickMark val="none"/>
        <c:tickLblPos val="nextTo"/>
        <c:crossAx val="212110336"/>
        <c:crosses val="autoZero"/>
        <c:auto val="1"/>
        <c:lblAlgn val="ctr"/>
        <c:lblOffset val="100"/>
        <c:noMultiLvlLbl val="0"/>
      </c:catAx>
      <c:valAx>
        <c:axId val="212110336"/>
        <c:scaling>
          <c:orientation val="minMax"/>
          <c:max val="10000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smtClean="0"/>
                  <a:t>Kosten (in</a:t>
                </a:r>
                <a:r>
                  <a:rPr lang="de-DE" baseline="0" dirty="0" smtClean="0"/>
                  <a:t> Euro)</a:t>
                </a:r>
                <a:endParaRPr lang="de-DE" dirty="0"/>
              </a:p>
            </c:rich>
          </c:tx>
          <c:layout/>
          <c:overlay val="0"/>
        </c:title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accent2">
                <a:shade val="95000"/>
                <a:satMod val="105000"/>
              </a:schemeClr>
            </a:solidFill>
            <a:prstDash val="solid"/>
          </a:ln>
          <a:effectLst/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4453760"/>
        <c:crosses val="autoZero"/>
        <c:crossBetween val="between"/>
        <c:majorUnit val="1000"/>
      </c:valAx>
      <c:dTable>
        <c:showHorzBorder val="1"/>
        <c:showVertBorder val="1"/>
        <c:showOutline val="1"/>
        <c:showKeys val="1"/>
        <c:spPr>
          <a:noFill/>
        </c:spPr>
      </c:dTable>
    </c:plotArea>
    <c:legend>
      <c:legendPos val="r"/>
      <c:layout>
        <c:manualLayout>
          <c:xMode val="edge"/>
          <c:yMode val="edge"/>
          <c:x val="0.84002351557907118"/>
          <c:y val="0.42516475311018836"/>
          <c:w val="0.14116402116402116"/>
          <c:h val="0.16927007575260683"/>
        </c:manualLayout>
      </c:layout>
      <c:overlay val="0"/>
      <c:spPr>
        <a:solidFill>
          <a:schemeClr val="bg1"/>
        </a:solidFill>
        <a:ln>
          <a:solidFill>
            <a:schemeClr val="bg1"/>
          </a:solidFill>
        </a:ln>
      </c:sp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neu</c:v>
                </c:pt>
              </c:strCache>
            </c:strRef>
          </c:tx>
          <c:spPr>
            <a:ln>
              <a:solidFill>
                <a:srgbClr val="569175"/>
              </a:solidFill>
            </a:ln>
          </c:spPr>
          <c:marker>
            <c:symbol val="none"/>
          </c:marker>
          <c:cat>
            <c:numRef>
              <c:f>Tabelle1!$A$2:$A$6</c:f>
              <c:numCache>
                <c:formatCode>General</c:formatCode>
                <c:ptCount val="5"/>
                <c:pt idx="0">
                  <c:v>3</c:v>
                </c:pt>
                <c:pt idx="1">
                  <c:v>9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964</c:v>
                </c:pt>
                <c:pt idx="1">
                  <c:v>2336</c:v>
                </c:pt>
                <c:pt idx="2">
                  <c:v>2522</c:v>
                </c:pt>
                <c:pt idx="3">
                  <c:v>2894</c:v>
                </c:pt>
                <c:pt idx="4">
                  <c:v>331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lt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abelle1!$A$2:$A$6</c:f>
              <c:numCache>
                <c:formatCode>General</c:formatCode>
                <c:ptCount val="5"/>
                <c:pt idx="0">
                  <c:v>3</c:v>
                </c:pt>
                <c:pt idx="1">
                  <c:v>9</c:v>
                </c:pt>
                <c:pt idx="2">
                  <c:v>12</c:v>
                </c:pt>
                <c:pt idx="3">
                  <c:v>18</c:v>
                </c:pt>
                <c:pt idx="4">
                  <c:v>2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684</c:v>
                </c:pt>
                <c:pt idx="1">
                  <c:v>2052</c:v>
                </c:pt>
                <c:pt idx="2">
                  <c:v>2736</c:v>
                </c:pt>
                <c:pt idx="3">
                  <c:v>4104</c:v>
                </c:pt>
                <c:pt idx="4">
                  <c:v>547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7793664"/>
        <c:axId val="217795584"/>
      </c:lineChart>
      <c:catAx>
        <c:axId val="2177936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Vorgang</a:t>
                </a:r>
                <a:endParaRPr lang="de-DE" dirty="0"/>
              </a:p>
            </c:rich>
          </c:tx>
          <c:layout/>
          <c:overlay val="0"/>
        </c:title>
        <c:numFmt formatCode="@" sourceLinked="0"/>
        <c:majorTickMark val="out"/>
        <c:minorTickMark val="none"/>
        <c:tickLblPos val="nextTo"/>
        <c:crossAx val="217795584"/>
        <c:crosses val="autoZero"/>
        <c:auto val="1"/>
        <c:lblAlgn val="ctr"/>
        <c:lblOffset val="100"/>
        <c:noMultiLvlLbl val="0"/>
      </c:catAx>
      <c:valAx>
        <c:axId val="217795584"/>
        <c:scaling>
          <c:orientation val="minMax"/>
          <c:max val="5000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smtClean="0"/>
                  <a:t>Kosten (in</a:t>
                </a:r>
                <a:r>
                  <a:rPr lang="de-DE" baseline="0" dirty="0" smtClean="0"/>
                  <a:t> Euro)</a:t>
                </a:r>
                <a:endParaRPr lang="de-DE" dirty="0"/>
              </a:p>
            </c:rich>
          </c:tx>
          <c:layout/>
          <c:overlay val="0"/>
        </c:title>
        <c:numFmt formatCode="#,##0" sourceLinked="0"/>
        <c:majorTickMark val="out"/>
        <c:minorTickMark val="none"/>
        <c:tickLblPos val="nextTo"/>
        <c:crossAx val="217793664"/>
        <c:crosses val="autoZero"/>
        <c:crossBetween val="between"/>
        <c:majorUnit val="1000"/>
      </c:valAx>
    </c:plotArea>
    <c:legend>
      <c:legendPos val="r"/>
      <c:layout/>
      <c:overlay val="0"/>
      <c:spPr>
        <a:noFill/>
      </c:sp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0.06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20.06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71798"/>
            <a:ext cx="472479" cy="49911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3956B8-8AE1-4D1A-BEAF-8A4D8F945B51}" type="slidenum">
              <a:rPr lang="de-DE" sz="1000"/>
              <a:pPr eaLnBrk="1" hangingPunct="1"/>
              <a:t>1</a:t>
            </a:fld>
            <a:endParaRPr lang="de-DE" sz="10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6125" y="749300"/>
            <a:ext cx="53086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>
          <a:xfrm>
            <a:off x="472479" y="9471798"/>
            <a:ext cx="785121" cy="499110"/>
          </a:xfrm>
          <a:prstGeom prst="rect">
            <a:avLst/>
          </a:prstGeom>
        </p:spPr>
        <p:txBody>
          <a:bodyPr/>
          <a:lstStyle/>
          <a:p>
            <a:fld id="{90870B8E-6320-4E8A-929D-2C531AE59AF3}" type="datetime1">
              <a:rPr lang="de-DE" smtClean="0"/>
              <a:t>20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257600" y="9471798"/>
            <a:ext cx="5540075" cy="4991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5867400" y="1008063"/>
            <a:ext cx="1512888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55799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432" y="144338"/>
            <a:ext cx="1800000" cy="67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med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57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SC - Live Support Chat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</a:t>
            </a:r>
            <a:r>
              <a:rPr lang="de-DE" dirty="0" smtClean="0"/>
              <a:t>on Niklas Grieger</a:t>
            </a:r>
            <a:endParaRPr lang="de-DE" dirty="0"/>
          </a:p>
        </p:txBody>
      </p:sp>
      <p:pic>
        <p:nvPicPr>
          <p:cNvPr id="7178" name="Picture 10" descr="U:\Projektarbeit\Präsentation\img\ChatGu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431" y="319781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561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 Beisp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0</a:t>
            </a:fld>
            <a:endParaRPr lang="de-DE" noProof="0" dirty="0"/>
          </a:p>
        </p:txBody>
      </p:sp>
      <p:pic>
        <p:nvPicPr>
          <p:cNvPr id="10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6" y="1340737"/>
            <a:ext cx="806049" cy="80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7" name="Picture 3" descr="U:\Projektarbeit\Präsentation\präsentation_img\Hotlin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826" y="1870476"/>
            <a:ext cx="707678" cy="707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krümmte Verbindung 13"/>
          <p:cNvCxnSpPr>
            <a:stCxn id="10" idx="3"/>
            <a:endCxn id="31747" idx="1"/>
          </p:cNvCxnSpPr>
          <p:nvPr/>
        </p:nvCxnSpPr>
        <p:spPr>
          <a:xfrm>
            <a:off x="1516465" y="1743762"/>
            <a:ext cx="826361" cy="480553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1588473" y="215333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5min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1438797" y="1328185"/>
            <a:ext cx="1157788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        	19€</a:t>
            </a:r>
          </a:p>
        </p:txBody>
      </p:sp>
      <p:pic>
        <p:nvPicPr>
          <p:cNvPr id="31749" name="Picture 5" descr="U:\Projektarbeit\Präsentation\präsentation_img\Develop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020" y="3956556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0" name="Picture 6" descr="U:\Projektarbeit\Präsentation\präsentation_img\Orga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112" y="1340737"/>
            <a:ext cx="757907" cy="75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Gekrümmte Verbindung 25"/>
          <p:cNvCxnSpPr>
            <a:stCxn id="31747" idx="3"/>
            <a:endCxn id="31750" idx="1"/>
          </p:cNvCxnSpPr>
          <p:nvPr/>
        </p:nvCxnSpPr>
        <p:spPr>
          <a:xfrm flipV="1">
            <a:off x="3050504" y="1719691"/>
            <a:ext cx="1077608" cy="504624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3361965" y="2261348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5min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010414" y="1327853"/>
            <a:ext cx="1157788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        	19€</a:t>
            </a:r>
          </a:p>
        </p:txBody>
      </p:sp>
      <p:cxnSp>
        <p:nvCxnSpPr>
          <p:cNvPr id="34" name="Gekrümmte Verbindung 33"/>
          <p:cNvCxnSpPr>
            <a:stCxn id="31750" idx="2"/>
          </p:cNvCxnSpPr>
          <p:nvPr/>
        </p:nvCxnSpPr>
        <p:spPr>
          <a:xfrm rot="5400000">
            <a:off x="4172176" y="2433534"/>
            <a:ext cx="669780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51" name="Picture 7" descr="U:\Projektarbeit\Präsentation\präsentation_img\task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395" y="2768425"/>
            <a:ext cx="577344" cy="5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feld 38"/>
          <p:cNvSpPr txBox="1"/>
          <p:nvPr/>
        </p:nvSpPr>
        <p:spPr>
          <a:xfrm>
            <a:off x="3750037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4795739" y="291994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41" name="Gekrümmte Verbindung 40"/>
          <p:cNvCxnSpPr>
            <a:stCxn id="31751" idx="2"/>
            <a:endCxn id="31749" idx="0"/>
          </p:cNvCxnSpPr>
          <p:nvPr/>
        </p:nvCxnSpPr>
        <p:spPr>
          <a:xfrm rot="5400000">
            <a:off x="4201673" y="3651161"/>
            <a:ext cx="610787" cy="3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/>
          <p:cNvSpPr txBox="1"/>
          <p:nvPr/>
        </p:nvSpPr>
        <p:spPr>
          <a:xfrm>
            <a:off x="3543918" y="434705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5250423" y="435260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51" name="Gekrümmte Verbindung 50"/>
          <p:cNvCxnSpPr>
            <a:stCxn id="31749" idx="3"/>
            <a:endCxn id="31750" idx="3"/>
          </p:cNvCxnSpPr>
          <p:nvPr/>
        </p:nvCxnSpPr>
        <p:spPr>
          <a:xfrm flipH="1" flipV="1">
            <a:off x="4886019" y="1719691"/>
            <a:ext cx="17089" cy="2632909"/>
          </a:xfrm>
          <a:prstGeom prst="curvedConnector3">
            <a:avLst>
              <a:gd name="adj1" fmla="val -2440295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/>
          <p:cNvSpPr txBox="1"/>
          <p:nvPr/>
        </p:nvSpPr>
        <p:spPr>
          <a:xfrm>
            <a:off x="5477765" y="312974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5331705" y="2055909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cxnSp>
        <p:nvCxnSpPr>
          <p:cNvPr id="58" name="Gekrümmte Verbindung 57"/>
          <p:cNvCxnSpPr>
            <a:stCxn id="31750" idx="0"/>
            <a:endCxn id="10" idx="0"/>
          </p:cNvCxnSpPr>
          <p:nvPr/>
        </p:nvCxnSpPr>
        <p:spPr>
          <a:xfrm rot="16200000" flipV="1">
            <a:off x="2810254" y="-356076"/>
            <a:ext cx="12700" cy="3393625"/>
          </a:xfrm>
          <a:prstGeom prst="curvedConnector3">
            <a:avLst>
              <a:gd name="adj1" fmla="val 3370913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2685039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1702302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336967"/>
              </p:ext>
            </p:extLst>
          </p:nvPr>
        </p:nvGraphicFramePr>
        <p:xfrm>
          <a:off x="586107" y="3350522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Gesamt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20m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228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6" name="Tabel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310149"/>
              </p:ext>
            </p:extLst>
          </p:nvPr>
        </p:nvGraphicFramePr>
        <p:xfrm>
          <a:off x="584214" y="4104779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342.000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7" name="Textfeld 66"/>
          <p:cNvSpPr txBox="1"/>
          <p:nvPr/>
        </p:nvSpPr>
        <p:spPr>
          <a:xfrm>
            <a:off x="5365033" y="374053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3816650" y="72868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</p:spTree>
    <p:extLst>
      <p:ext uri="{BB962C8B-B14F-4D97-AF65-F5344CB8AC3E}">
        <p14:creationId xmlns:p14="http://schemas.microsoft.com/office/powerpoint/2010/main" val="4251648850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17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17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17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1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317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32" grpId="0"/>
      <p:bldP spid="33" grpId="0"/>
      <p:bldP spid="39" grpId="0"/>
      <p:bldP spid="40" grpId="0"/>
      <p:bldP spid="44" grpId="0"/>
      <p:bldP spid="45" grpId="0"/>
      <p:bldP spid="56" grpId="0"/>
      <p:bldP spid="57" grpId="0"/>
      <p:bldP spid="62" grpId="0"/>
      <p:bldP spid="63" grpId="0"/>
      <p:bldP spid="67" grpId="0"/>
      <p:bldP spid="6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860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 - Beisp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1</a:t>
            </a:fld>
            <a:endParaRPr lang="de-DE" noProof="0" dirty="0"/>
          </a:p>
        </p:txBody>
      </p:sp>
      <p:pic>
        <p:nvPicPr>
          <p:cNvPr id="10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6" y="1340737"/>
            <a:ext cx="806049" cy="80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krümmte Verbindung 13"/>
          <p:cNvCxnSpPr>
            <a:stCxn id="10" idx="3"/>
            <a:endCxn id="37" idx="1"/>
          </p:cNvCxnSpPr>
          <p:nvPr/>
        </p:nvCxnSpPr>
        <p:spPr>
          <a:xfrm flipV="1">
            <a:off x="1516465" y="1743761"/>
            <a:ext cx="921604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1620391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cxnSp>
        <p:nvCxnSpPr>
          <p:cNvPr id="26" name="Gekrümmte Verbindung 25"/>
          <p:cNvCxnSpPr>
            <a:stCxn id="37" idx="3"/>
            <a:endCxn id="42" idx="1"/>
          </p:cNvCxnSpPr>
          <p:nvPr/>
        </p:nvCxnSpPr>
        <p:spPr>
          <a:xfrm flipV="1">
            <a:off x="3135684" y="1741257"/>
            <a:ext cx="1043778" cy="2504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krümmte Verbindung 57"/>
          <p:cNvCxnSpPr>
            <a:stCxn id="42" idx="0"/>
            <a:endCxn id="10" idx="0"/>
          </p:cNvCxnSpPr>
          <p:nvPr/>
        </p:nvCxnSpPr>
        <p:spPr>
          <a:xfrm rot="16200000" flipV="1">
            <a:off x="2837004" y="-382826"/>
            <a:ext cx="9708" cy="3456833"/>
          </a:xfrm>
          <a:prstGeom prst="curvedConnector3">
            <a:avLst>
              <a:gd name="adj1" fmla="val 2454759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5087229"/>
              </p:ext>
            </p:extLst>
          </p:nvPr>
        </p:nvGraphicFramePr>
        <p:xfrm>
          <a:off x="586107" y="3350522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Gesamt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90 m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138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6" name="Tabel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912866"/>
              </p:ext>
            </p:extLst>
          </p:nvPr>
        </p:nvGraphicFramePr>
        <p:xfrm>
          <a:off x="584214" y="4104779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207.000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1620391" y="2008291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pic>
        <p:nvPicPr>
          <p:cNvPr id="37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069" y="1394953"/>
            <a:ext cx="697615" cy="69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9462" y="1350445"/>
            <a:ext cx="781623" cy="781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5" descr="U:\Projektarbeit\Präsentation\präsentation_img\Developer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1028" y="3951011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" descr="U:\Projektarbeit\Präsentation\präsentation_img\task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603" y="2768425"/>
            <a:ext cx="577344" cy="5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feld 52"/>
          <p:cNvSpPr txBox="1"/>
          <p:nvPr/>
        </p:nvSpPr>
        <p:spPr>
          <a:xfrm>
            <a:off x="3750037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4973116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59" name="Gekrümmte Verbindung 58"/>
          <p:cNvCxnSpPr>
            <a:stCxn id="52" idx="2"/>
            <a:endCxn id="50" idx="0"/>
          </p:cNvCxnSpPr>
          <p:nvPr/>
        </p:nvCxnSpPr>
        <p:spPr>
          <a:xfrm rot="16200000" flipH="1">
            <a:off x="4271052" y="3644991"/>
            <a:ext cx="605242" cy="6797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59"/>
          <p:cNvSpPr txBox="1"/>
          <p:nvPr/>
        </p:nvSpPr>
        <p:spPr>
          <a:xfrm>
            <a:off x="3543918" y="434705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5250423" y="4352600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5477765" y="3129745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1</a:t>
            </a:r>
            <a:r>
              <a:rPr lang="de-DE" dirty="0">
                <a:solidFill>
                  <a:schemeClr val="tx2"/>
                </a:solidFill>
              </a:rPr>
              <a:t>5</a:t>
            </a:r>
            <a:r>
              <a:rPr lang="de-DE" dirty="0" smtClean="0">
                <a:solidFill>
                  <a:schemeClr val="tx2"/>
                </a:solidFill>
              </a:rPr>
              <a:t>min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5365033" y="374053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  <p:cxnSp>
        <p:nvCxnSpPr>
          <p:cNvPr id="69" name="Gekrümmte Verbindung 68"/>
          <p:cNvCxnSpPr>
            <a:stCxn id="42" idx="2"/>
            <a:endCxn id="52" idx="0"/>
          </p:cNvCxnSpPr>
          <p:nvPr/>
        </p:nvCxnSpPr>
        <p:spPr>
          <a:xfrm rot="16200000" flipH="1">
            <a:off x="4252096" y="2450245"/>
            <a:ext cx="636357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/>
          <p:cNvSpPr txBox="1"/>
          <p:nvPr/>
        </p:nvSpPr>
        <p:spPr>
          <a:xfrm>
            <a:off x="3657573" y="2052679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3735098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cxnSp>
        <p:nvCxnSpPr>
          <p:cNvPr id="72" name="Gekrümmte Verbindung 71"/>
          <p:cNvCxnSpPr>
            <a:stCxn id="50" idx="3"/>
            <a:endCxn id="42" idx="3"/>
          </p:cNvCxnSpPr>
          <p:nvPr/>
        </p:nvCxnSpPr>
        <p:spPr>
          <a:xfrm flipH="1" flipV="1">
            <a:off x="4961085" y="1741257"/>
            <a:ext cx="12031" cy="2605798"/>
          </a:xfrm>
          <a:prstGeom prst="curvedConnector3">
            <a:avLst>
              <a:gd name="adj1" fmla="val -3051667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/>
          <p:cNvSpPr txBox="1"/>
          <p:nvPr/>
        </p:nvSpPr>
        <p:spPr>
          <a:xfrm>
            <a:off x="2685039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1702302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3816650" y="72868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  <p:sp>
        <p:nvSpPr>
          <p:cNvPr id="76" name="Textfeld 75"/>
          <p:cNvSpPr txBox="1"/>
          <p:nvPr/>
        </p:nvSpPr>
        <p:spPr>
          <a:xfrm>
            <a:off x="5427801" y="2463904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19€</a:t>
            </a:r>
          </a:p>
        </p:txBody>
      </p:sp>
    </p:spTree>
    <p:extLst>
      <p:ext uri="{BB962C8B-B14F-4D97-AF65-F5344CB8AC3E}">
        <p14:creationId xmlns:p14="http://schemas.microsoft.com/office/powerpoint/2010/main" val="121618127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637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2</a:t>
            </a:fld>
            <a:endParaRPr lang="de-DE" noProof="0" dirty="0"/>
          </a:p>
        </p:txBody>
      </p:sp>
      <p:graphicFrame>
        <p:nvGraphicFramePr>
          <p:cNvPr id="17" name="Inhaltsplatzhalter 1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653437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521418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tz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Zeitersparni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res Arbeiten für den </a:t>
            </a:r>
            <a:r>
              <a:rPr lang="de-DE" smtClean="0">
                <a:solidFill>
                  <a:schemeClr val="tx2"/>
                </a:solidFill>
              </a:rPr>
              <a:t>Fachbereich und der IT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Lizenzkosten, da keine eingekaufte Lösung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7413" name="Picture 5" descr="U:\Projektarbeit\Präsentation\img\KostenNutz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391" y="2520603"/>
            <a:ext cx="3191425" cy="225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7423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994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 - Beisp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4</a:t>
            </a:fld>
            <a:endParaRPr lang="de-DE" noProof="0" dirty="0"/>
          </a:p>
        </p:txBody>
      </p:sp>
      <p:pic>
        <p:nvPicPr>
          <p:cNvPr id="10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6" y="1340737"/>
            <a:ext cx="806049" cy="80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Gekrümmte Verbindung 13"/>
          <p:cNvCxnSpPr>
            <a:stCxn id="10" idx="3"/>
            <a:endCxn id="37" idx="1"/>
          </p:cNvCxnSpPr>
          <p:nvPr/>
        </p:nvCxnSpPr>
        <p:spPr>
          <a:xfrm flipV="1">
            <a:off x="1516465" y="1743761"/>
            <a:ext cx="921604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1620391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cxnSp>
        <p:nvCxnSpPr>
          <p:cNvPr id="26" name="Gekrümmte Verbindung 25"/>
          <p:cNvCxnSpPr>
            <a:stCxn id="37" idx="3"/>
            <a:endCxn id="42" idx="1"/>
          </p:cNvCxnSpPr>
          <p:nvPr/>
        </p:nvCxnSpPr>
        <p:spPr>
          <a:xfrm flipV="1">
            <a:off x="3135684" y="1741257"/>
            <a:ext cx="1043778" cy="2504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krümmte Verbindung 57"/>
          <p:cNvCxnSpPr>
            <a:stCxn id="42" idx="0"/>
            <a:endCxn id="10" idx="0"/>
          </p:cNvCxnSpPr>
          <p:nvPr/>
        </p:nvCxnSpPr>
        <p:spPr>
          <a:xfrm rot="16200000" flipV="1">
            <a:off x="2837004" y="-382826"/>
            <a:ext cx="9708" cy="3456833"/>
          </a:xfrm>
          <a:prstGeom prst="curvedConnector3">
            <a:avLst>
              <a:gd name="adj1" fmla="val 2454759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0514506"/>
              </p:ext>
            </p:extLst>
          </p:nvPr>
        </p:nvGraphicFramePr>
        <p:xfrm>
          <a:off x="586107" y="3350522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Gesamt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45 m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62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6" name="Tabel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6613380"/>
              </p:ext>
            </p:extLst>
          </p:nvPr>
        </p:nvGraphicFramePr>
        <p:xfrm>
          <a:off x="584214" y="4104779"/>
          <a:ext cx="2232390" cy="540237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16195"/>
                <a:gridCol w="1116195"/>
              </a:tblGrid>
              <a:tr h="281157"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</a:tr>
              <a:tr h="170702">
                <a:tc>
                  <a:txBody>
                    <a:bodyPr/>
                    <a:lstStyle/>
                    <a:p>
                      <a:r>
                        <a:rPr lang="de-DE" dirty="0" smtClean="0"/>
                        <a:t>1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rgbClr val="FF0000"/>
                          </a:solidFill>
                        </a:rPr>
                        <a:t>93.000€</a:t>
                      </a:r>
                      <a:endParaRPr lang="de-DE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1620391" y="2008291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pic>
        <p:nvPicPr>
          <p:cNvPr id="37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069" y="1394953"/>
            <a:ext cx="697615" cy="69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9462" y="1350445"/>
            <a:ext cx="781623" cy="781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" descr="U:\Projektarbeit\Präsentation\präsentation_img\task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603" y="2768425"/>
            <a:ext cx="577344" cy="5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feld 52"/>
          <p:cNvSpPr txBox="1"/>
          <p:nvPr/>
        </p:nvSpPr>
        <p:spPr>
          <a:xfrm>
            <a:off x="3750037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30min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4973116" y="2930186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38€</a:t>
            </a:r>
          </a:p>
        </p:txBody>
      </p:sp>
      <p:cxnSp>
        <p:nvCxnSpPr>
          <p:cNvPr id="69" name="Gekrümmte Verbindung 68"/>
          <p:cNvCxnSpPr>
            <a:stCxn id="42" idx="2"/>
            <a:endCxn id="52" idx="0"/>
          </p:cNvCxnSpPr>
          <p:nvPr/>
        </p:nvCxnSpPr>
        <p:spPr>
          <a:xfrm rot="16200000" flipH="1">
            <a:off x="4252096" y="2450245"/>
            <a:ext cx="636357" cy="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/>
          <p:cNvSpPr txBox="1"/>
          <p:nvPr/>
        </p:nvSpPr>
        <p:spPr>
          <a:xfrm>
            <a:off x="3657573" y="2052679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1" name="Textfeld 70"/>
          <p:cNvSpPr txBox="1"/>
          <p:nvPr/>
        </p:nvSpPr>
        <p:spPr>
          <a:xfrm>
            <a:off x="3735098" y="1350445"/>
            <a:ext cx="26350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        	</a:t>
            </a:r>
          </a:p>
        </p:txBody>
      </p:sp>
      <p:sp>
        <p:nvSpPr>
          <p:cNvPr id="73" name="Textfeld 72"/>
          <p:cNvSpPr txBox="1"/>
          <p:nvPr/>
        </p:nvSpPr>
        <p:spPr>
          <a:xfrm>
            <a:off x="2685039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5min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1702302" y="720403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3816650" y="728682"/>
            <a:ext cx="454685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rgbClr val="FF0000"/>
                </a:solidFill>
              </a:rPr>
              <a:t>6€</a:t>
            </a:r>
          </a:p>
        </p:txBody>
      </p:sp>
    </p:spTree>
    <p:extLst>
      <p:ext uri="{BB962C8B-B14F-4D97-AF65-F5344CB8AC3E}">
        <p14:creationId xmlns:p14="http://schemas.microsoft.com/office/powerpoint/2010/main" val="1343586881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36" grpId="0"/>
      <p:bldP spid="53" grpId="0"/>
      <p:bldP spid="55" grpId="0"/>
      <p:bldP spid="70" grpId="0"/>
      <p:bldP spid="71" grpId="0"/>
      <p:bldP spid="73" grpId="0"/>
      <p:bldP spid="74" grpId="0"/>
      <p:bldP spid="7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689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5</a:t>
            </a:fld>
            <a:endParaRPr lang="de-DE" noProof="0" dirty="0"/>
          </a:p>
        </p:txBody>
      </p:sp>
      <p:graphicFrame>
        <p:nvGraphicFramePr>
          <p:cNvPr id="17" name="Inhaltsplatzhalter 1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50619010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7504737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77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wendete Sprach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10" name="Raute 9"/>
          <p:cNvSpPr/>
          <p:nvPr/>
        </p:nvSpPr>
        <p:spPr>
          <a:xfrm>
            <a:off x="935832" y="1008063"/>
            <a:ext cx="3887787" cy="3887787"/>
          </a:xfrm>
          <a:prstGeom prst="diamond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uppieren 15"/>
          <p:cNvGrpSpPr/>
          <p:nvPr/>
        </p:nvGrpSpPr>
        <p:grpSpPr>
          <a:xfrm>
            <a:off x="1305171" y="1377402"/>
            <a:ext cx="1516236" cy="3149107"/>
            <a:chOff x="1305171" y="1377402"/>
            <a:chExt cx="1516236" cy="3149107"/>
          </a:xfrm>
        </p:grpSpPr>
        <p:sp>
          <p:nvSpPr>
            <p:cNvPr id="11" name="Freihandform 10"/>
            <p:cNvSpPr/>
            <p:nvPr/>
          </p:nvSpPr>
          <p:spPr>
            <a:xfrm>
              <a:off x="1305171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  <a:effectLst>
              <a:reflection stA="45000" endPos="1000" dist="50800" dir="5400000" sy="-100000" algn="bl" rotWithShape="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Serversprache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C#</a:t>
              </a:r>
              <a:endParaRPr lang="de-DE" sz="700" kern="1200" dirty="0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305171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ASP.NET MVC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SignalR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err="1" smtClean="0"/>
                <a:t>Entity</a:t>
              </a:r>
              <a:r>
                <a:rPr lang="de-DE" sz="700" kern="1200" dirty="0" smtClean="0"/>
                <a:t> Framework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938042" y="1377402"/>
            <a:ext cx="1516236" cy="3149107"/>
            <a:chOff x="2938042" y="1377402"/>
            <a:chExt cx="1516236" cy="3149107"/>
          </a:xfrm>
        </p:grpSpPr>
        <p:sp>
          <p:nvSpPr>
            <p:cNvPr id="12" name="Freihandform 11"/>
            <p:cNvSpPr/>
            <p:nvPr/>
          </p:nvSpPr>
          <p:spPr>
            <a:xfrm>
              <a:off x="2938042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Client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HTML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CSS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JavaScript</a:t>
              </a:r>
            </a:p>
          </p:txBody>
        </p:sp>
        <p:sp>
          <p:nvSpPr>
            <p:cNvPr id="14" name="Freihandform 13"/>
            <p:cNvSpPr/>
            <p:nvPr/>
          </p:nvSpPr>
          <p:spPr>
            <a:xfrm>
              <a:off x="2938042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err="1" smtClean="0"/>
                <a:t>JQuery</a:t>
              </a:r>
              <a:endParaRPr lang="de-DE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smtClean="0"/>
                <a:t>KendoUI</a:t>
              </a:r>
              <a:endParaRPr lang="de-DE" sz="7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106366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7" name="Picture 3" descr="U:\Projektarbeit\img\Screenshots\Startseit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4" y="864419"/>
            <a:ext cx="5400600" cy="345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919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7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6360987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947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8</a:t>
            </a:fld>
            <a:endParaRPr lang="de-DE" noProof="0" dirty="0"/>
          </a:p>
        </p:txBody>
      </p:sp>
      <p:pic>
        <p:nvPicPr>
          <p:cNvPr id="28674" name="Picture 2" descr="U:\Projektarbeit\img\Screenshots\01_Normal_OpenCha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3" y="936426"/>
            <a:ext cx="5649166" cy="3456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291081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202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9</a:t>
            </a:fld>
            <a:endParaRPr lang="de-DE" noProof="0" dirty="0"/>
          </a:p>
        </p:txBody>
      </p:sp>
      <p:pic>
        <p:nvPicPr>
          <p:cNvPr id="29698" name="Picture 2" descr="U:\Projektarbeit\img\Screenshots\02_Normal_ChooseSuppor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335" y="720403"/>
            <a:ext cx="3816426" cy="404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2054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758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 Unternehm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pic>
        <p:nvPicPr>
          <p:cNvPr id="8203" name="Picture 11" descr="U:\Projektarbeit\Präsentation\img\vorstellung_BankGebaeud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1" y="1008435"/>
            <a:ext cx="540059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5186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30722" name="Picture 2" descr="U:\Projektarbeit\img\Screenshots\03_Normal_ErsterKontak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335" y="792411"/>
            <a:ext cx="3815378" cy="4174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484940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9297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cherhe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1</a:t>
            </a:fld>
            <a:endParaRPr lang="de-DE" noProof="0" dirty="0"/>
          </a:p>
        </p:txBody>
      </p:sp>
      <p:sp>
        <p:nvSpPr>
          <p:cNvPr id="19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tx2"/>
                </a:solidFill>
              </a:rPr>
              <a:t>Autentifizierung</a:t>
            </a:r>
            <a:r>
              <a:rPr lang="de-DE" dirty="0" smtClean="0">
                <a:solidFill>
                  <a:schemeClr val="tx2"/>
                </a:solidFill>
              </a:rPr>
              <a:t> durch NT-User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Verhinderung von Cross Site Scripting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dirty="0" err="1" smtClean="0"/>
              <a:t>encodeURIComponent</a:t>
            </a:r>
            <a:r>
              <a:rPr lang="de-DE" dirty="0" smtClean="0"/>
              <a:t>(Message) 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Message</a:t>
            </a:r>
            <a:r>
              <a:rPr lang="de-DE" dirty="0" smtClean="0">
                <a:solidFill>
                  <a:schemeClr val="tx2"/>
                </a:solidFill>
              </a:rPr>
              <a:t>				</a:t>
            </a:r>
          </a:p>
          <a:p>
            <a:r>
              <a:rPr lang="de-DE" dirty="0" smtClean="0">
                <a:solidFill>
                  <a:schemeClr val="tx2"/>
                </a:solidFill>
              </a:rPr>
              <a:t>	&lt;h1&gt;</a:t>
            </a:r>
            <a:r>
              <a:rPr lang="de-DE" dirty="0" err="1" smtClean="0">
                <a:solidFill>
                  <a:schemeClr val="tx2"/>
                </a:solidFill>
              </a:rPr>
              <a:t>test</a:t>
            </a:r>
            <a:r>
              <a:rPr lang="de-DE" dirty="0" smtClean="0">
                <a:solidFill>
                  <a:schemeClr val="tx2"/>
                </a:solidFill>
              </a:rPr>
              <a:t>&lt;/h1&gt;			</a:t>
            </a:r>
          </a:p>
          <a:p>
            <a:r>
              <a:rPr lang="de-DE" dirty="0">
                <a:solidFill>
                  <a:schemeClr val="tx2"/>
                </a:solidFill>
              </a:rPr>
              <a:t>	</a:t>
            </a:r>
            <a:r>
              <a:rPr lang="de-DE" u="sng" dirty="0" smtClean="0">
                <a:solidFill>
                  <a:schemeClr val="tx2"/>
                </a:solidFill>
              </a:rPr>
              <a:t>Codiert</a:t>
            </a:r>
            <a:r>
              <a:rPr lang="de-DE" dirty="0" smtClean="0">
                <a:solidFill>
                  <a:schemeClr val="tx2"/>
                </a:solidFill>
              </a:rPr>
              <a:t>				%26amp%3Blt%3Bh1%26amp%3Bgt%3Btest%26amp%3Blt%3B%2Fh1%	26amp%3Bgt%3B</a:t>
            </a:r>
          </a:p>
          <a:p>
            <a:endParaRPr lang="de-DE" dirty="0">
              <a:solidFill>
                <a:schemeClr val="tx2"/>
              </a:solidFill>
            </a:endParaRPr>
          </a:p>
          <a:p>
            <a:pPr algn="ctr"/>
            <a:r>
              <a:rPr lang="de-DE" u="sng" dirty="0" err="1" smtClean="0">
                <a:solidFill>
                  <a:schemeClr val="tx2"/>
                </a:solidFill>
              </a:rPr>
              <a:t>Validator</a:t>
            </a:r>
            <a:endParaRPr lang="de-DE" u="sng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Benutzerdefinierte Regel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 bwMode="gray">
          <a:xfrm>
            <a:off x="1620391" y="2160563"/>
            <a:ext cx="2448272" cy="216024"/>
          </a:xfrm>
          <a:prstGeom prst="round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87647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2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2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algn="ctr"/>
            <a:r>
              <a:rPr lang="de-DE" sz="1600" u="sng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Wie wird es weitergehen?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Produktive Integration 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Nutzeranalyse</a:t>
            </a: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3555" name="Picture 3" descr="U:\Projektarbeit\Präsentation\img\Fazi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747" y="2088554"/>
            <a:ext cx="333375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4339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953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d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3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5605" name="Picture 5" descr="U:\Projektarbeit\Präsentation\präsentation_img\End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82" y="1224459"/>
            <a:ext cx="4355753" cy="291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5770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6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3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3" y="2232158"/>
            <a:ext cx="4402306" cy="269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15689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8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chtzeit Kommunikatio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Integriert in die Intranet </a:t>
            </a:r>
            <a:r>
              <a:rPr lang="de-DE" dirty="0" smtClean="0">
                <a:solidFill>
                  <a:schemeClr val="tx2"/>
                </a:solidFill>
              </a:rPr>
              <a:t>Seite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fache Wartbarkeit durch Modularitä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  <a:endParaRPr lang="de-DE" dirty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4</a:t>
            </a:fld>
            <a:endParaRPr lang="de-DE" noProof="0" dirty="0"/>
          </a:p>
        </p:txBody>
      </p:sp>
      <p:pic>
        <p:nvPicPr>
          <p:cNvPr id="11268" name="Picture 4" descr="U:\Projektarbeit\Präsentation\img\ChatBackgrou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359" y="2160563"/>
            <a:ext cx="3599340" cy="26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75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0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10244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26" y="948900"/>
            <a:ext cx="1349176" cy="134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95" y="2448595"/>
            <a:ext cx="1406166" cy="140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767" y="3166295"/>
            <a:ext cx="16256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661" y="948900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krümmte Verbindung 15"/>
          <p:cNvCxnSpPr>
            <a:endCxn id="10248" idx="2"/>
          </p:cNvCxnSpPr>
          <p:nvPr/>
        </p:nvCxnSpPr>
        <p:spPr>
          <a:xfrm rot="5400000" flipH="1" flipV="1">
            <a:off x="3124629" y="1981388"/>
            <a:ext cx="1538260" cy="802321"/>
          </a:xfrm>
          <a:prstGeom prst="curvedConnector3">
            <a:avLst>
              <a:gd name="adj1" fmla="val 50352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/>
          <p:cNvCxnSpPr>
            <a:stCxn id="10248" idx="1"/>
          </p:cNvCxnSpPr>
          <p:nvPr/>
        </p:nvCxnSpPr>
        <p:spPr>
          <a:xfrm rot="10800000" flipV="1">
            <a:off x="3259579" y="1281159"/>
            <a:ext cx="703082" cy="1815508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7746338">
            <a:off x="2806279" y="1771355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cxnSp>
        <p:nvCxnSpPr>
          <p:cNvPr id="38" name="Gekrümmte Verbindung 37"/>
          <p:cNvCxnSpPr>
            <a:endCxn id="44" idx="3"/>
          </p:cNvCxnSpPr>
          <p:nvPr/>
        </p:nvCxnSpPr>
        <p:spPr>
          <a:xfrm rot="10800000" flipV="1">
            <a:off x="1387142" y="3456706"/>
            <a:ext cx="2129888" cy="98759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56" name="Picture 16" descr="U:\Projektarbeit\Präsentation\img\chat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336" y="3329572"/>
            <a:ext cx="254270" cy="25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/>
          <p:cNvSpPr txBox="1"/>
          <p:nvPr/>
        </p:nvSpPr>
        <p:spPr>
          <a:xfrm rot="20031196">
            <a:off x="1890796" y="4218787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pic>
        <p:nvPicPr>
          <p:cNvPr id="44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24" y="4112039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Gekrümmte Verbindung 45"/>
          <p:cNvCxnSpPr>
            <a:stCxn id="44" idx="0"/>
            <a:endCxn id="10256" idx="1"/>
          </p:cNvCxnSpPr>
          <p:nvPr/>
        </p:nvCxnSpPr>
        <p:spPr>
          <a:xfrm rot="5400000" flipH="1" flipV="1">
            <a:off x="1949943" y="2561647"/>
            <a:ext cx="655332" cy="2445453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 rot="20661480">
            <a:off x="1091213" y="3422928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Chat Data</a:t>
            </a:r>
          </a:p>
        </p:txBody>
      </p:sp>
      <p:pic>
        <p:nvPicPr>
          <p:cNvPr id="10260" name="Picture 20" descr="U:\Projektarbeit\Präsentation\img\ChatBubbleIcon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CrisscrossEtching trans="72000" pressure="33"/>
                    </a14:imgEffect>
                    <a14:imgEffect>
                      <a14:colorTemperature colorTemp="4500"/>
                    </a14:imgEffect>
                    <a14:imgEffect>
                      <a14:saturation sat="220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45" y="2088555"/>
            <a:ext cx="1625600" cy="1282700"/>
          </a:xfrm>
          <a:prstGeom prst="rect">
            <a:avLst/>
          </a:prstGeom>
          <a:noFill/>
          <a:ln>
            <a:noFill/>
            <a:prstDash val="solid"/>
          </a:ln>
          <a:effectLst/>
        </p:spPr>
      </p:pic>
      <p:sp>
        <p:nvSpPr>
          <p:cNvPr id="7" name="Textfeld 6"/>
          <p:cNvSpPr txBox="1"/>
          <p:nvPr/>
        </p:nvSpPr>
        <p:spPr>
          <a:xfrm>
            <a:off x="3935925" y="2390371"/>
            <a:ext cx="1240724" cy="50783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de-DE" dirty="0" smtClean="0"/>
              <a:t>Hallo, ich habe eine</a:t>
            </a:r>
          </a:p>
          <a:p>
            <a:r>
              <a:rPr lang="de-DE" dirty="0" smtClean="0"/>
              <a:t> Frage zu einem </a:t>
            </a:r>
          </a:p>
          <a:p>
            <a:r>
              <a:rPr lang="de-DE" dirty="0" smtClean="0"/>
              <a:t>Thema…</a:t>
            </a:r>
          </a:p>
        </p:txBody>
      </p:sp>
      <p:cxnSp>
        <p:nvCxnSpPr>
          <p:cNvPr id="25" name="Gekrümmte Verbindung 24"/>
          <p:cNvCxnSpPr>
            <a:stCxn id="10256" idx="3"/>
            <a:endCxn id="10246" idx="1"/>
          </p:cNvCxnSpPr>
          <p:nvPr/>
        </p:nvCxnSpPr>
        <p:spPr>
          <a:xfrm>
            <a:off x="3754606" y="3456707"/>
            <a:ext cx="1250161" cy="522388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42764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473E-6 -3.38498E-6 L 0.12305 -3.38498E-6 C 0.17828 -3.38498E-6 0.24674 0.06586 0.24674 0.11919 L 0.24674 0.23838 " pathEditMode="relative" rAng="0" ptsTypes="FfFF">
                                      <p:cBhvr>
                                        <p:cTn id="10" dur="20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27" y="119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3" grpId="0"/>
      <p:bldP spid="50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29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e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endParaRPr lang="de-DE" sz="1400" dirty="0" smtClean="0">
              <a:solidFill>
                <a:schemeClr val="tx2"/>
              </a:solidFill>
            </a:endParaRP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Schnellere Lösungsfindung</a:t>
            </a:r>
          </a:p>
          <a:p>
            <a:pPr algn="ctr"/>
            <a:r>
              <a:rPr lang="de-DE" sz="1400" dirty="0" smtClean="0">
                <a:solidFill>
                  <a:schemeClr val="tx2"/>
                </a:solidFill>
              </a:rPr>
              <a:t>Effizientes Support Kommunikationsmittel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Vorteil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externe Software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dividuell anpassbar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ilfe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algn="ctr"/>
            <a:r>
              <a:rPr lang="de-DE" u="sng" dirty="0" smtClean="0">
                <a:solidFill>
                  <a:schemeClr val="tx2"/>
                </a:solidFill>
              </a:rPr>
              <a:t>Zielgruppe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T als Support-Dienstleister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achbereich als Benutzer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3318" name="Picture 6" descr="U:\Projektarbeit\Präsentation\img\projektziel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631" y="1944539"/>
            <a:ext cx="1911851" cy="248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5764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wendungsfall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7</a:t>
            </a:fld>
            <a:endParaRPr lang="de-DE" noProof="0" dirty="0"/>
          </a:p>
        </p:txBody>
      </p:sp>
      <p:pic>
        <p:nvPicPr>
          <p:cNvPr id="14416" name="Picture 80" descr="U:\Projektarbeit\Diagramme\Anwendungsfalldiagram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2" y="1102487"/>
            <a:ext cx="5544616" cy="360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97853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99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phas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8</a:t>
            </a:fld>
            <a:endParaRPr lang="de-DE" noProof="0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4535085"/>
              </p:ext>
            </p:extLst>
          </p:nvPr>
        </p:nvGraphicFramePr>
        <p:xfrm>
          <a:off x="180231" y="1008435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5282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3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20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9</a:t>
            </a:fld>
            <a:endParaRPr lang="de-DE" noProof="0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9580974"/>
              </p:ext>
            </p:extLst>
          </p:nvPr>
        </p:nvGraphicFramePr>
        <p:xfrm>
          <a:off x="179388" y="1008435"/>
          <a:ext cx="5400676" cy="1538868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529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473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5016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016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468">
                <a:tc>
                  <a:txBody>
                    <a:bodyPr/>
                    <a:lstStyle/>
                    <a:p>
                      <a:r>
                        <a:rPr lang="de-DE" dirty="0" smtClean="0"/>
                        <a:t>Vorga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ntwickl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x Auszubildend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70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.050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es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x Auszubildender</a:t>
                      </a:r>
                    </a:p>
                    <a:p>
                      <a:r>
                        <a:rPr lang="de-DE" dirty="0" smtClean="0"/>
                        <a:t>2x Entwickl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   728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.778€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5515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Template_D_A5</Template>
  <TotalTime>0</TotalTime>
  <Words>648</Words>
  <Application>Microsoft Office PowerPoint</Application>
  <PresentationFormat>Benutzerdefiniert</PresentationFormat>
  <Paragraphs>412</Paragraphs>
  <Slides>23</Slides>
  <Notes>1</Notes>
  <HiddenSlides>7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5" baseType="lpstr">
      <vt:lpstr>BeGo_Template_D_A5</vt:lpstr>
      <vt:lpstr>think-cell Folie</vt:lpstr>
      <vt:lpstr>LSC - Live Support Chat</vt:lpstr>
      <vt:lpstr>Das Unternehmen</vt:lpstr>
      <vt:lpstr>Wir – der interne IT Dienstleister</vt:lpstr>
      <vt:lpstr>Projektbeschreibung</vt:lpstr>
      <vt:lpstr>Projektbeschreibung</vt:lpstr>
      <vt:lpstr>Projektziele</vt:lpstr>
      <vt:lpstr>Anwendungsfalldiagramm</vt:lpstr>
      <vt:lpstr>Projektphasen</vt:lpstr>
      <vt:lpstr>Projektkosten</vt:lpstr>
      <vt:lpstr>Kosten IST- Beispiel</vt:lpstr>
      <vt:lpstr>Kosten SOLL - Beispiel</vt:lpstr>
      <vt:lpstr>Amortisation</vt:lpstr>
      <vt:lpstr>Nutzen</vt:lpstr>
      <vt:lpstr>Kosten SOLL - Beispiel</vt:lpstr>
      <vt:lpstr>Amortisation</vt:lpstr>
      <vt:lpstr>Verwendete Sprachen</vt:lpstr>
      <vt:lpstr>Screenshot</vt:lpstr>
      <vt:lpstr>Screenshot</vt:lpstr>
      <vt:lpstr>Screenshot</vt:lpstr>
      <vt:lpstr>Screenshot</vt:lpstr>
      <vt:lpstr>Sicherheit</vt:lpstr>
      <vt:lpstr>Fazit</vt:lpstr>
      <vt:lpstr>Ende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Grieger, Niklas</cp:lastModifiedBy>
  <cp:revision>140</cp:revision>
  <cp:lastPrinted>2013-03-21T16:05:01Z</cp:lastPrinted>
  <dcterms:created xsi:type="dcterms:W3CDTF">2017-05-11T08:04:29Z</dcterms:created>
  <dcterms:modified xsi:type="dcterms:W3CDTF">2017-06-20T12:10:22Z</dcterms:modified>
</cp:coreProperties>
</file>